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</p:sldMasterIdLst>
  <p:notesMasterIdLst>
    <p:notesMasterId r:id="rId14"/>
  </p:notesMasterIdLst>
  <p:handoutMasterIdLst>
    <p:handoutMasterId r:id="rId15"/>
  </p:handoutMasterIdLst>
  <p:sldIdLst>
    <p:sldId id="1277" r:id="rId3"/>
    <p:sldId id="1293" r:id="rId4"/>
    <p:sldId id="1294" r:id="rId5"/>
    <p:sldId id="1296" r:id="rId6"/>
    <p:sldId id="1372" r:id="rId7"/>
    <p:sldId id="1371" r:id="rId8"/>
    <p:sldId id="1373" r:id="rId9"/>
    <p:sldId id="1343" r:id="rId10"/>
    <p:sldId id="1344" r:id="rId11"/>
    <p:sldId id="1345" r:id="rId12"/>
    <p:sldId id="1346" r:id="rId13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72"/>
            <p14:sldId id="1371"/>
            <p14:sldId id="1373"/>
            <p14:sldId id="1343"/>
            <p14:sldId id="1344"/>
            <p14:sldId id="1345"/>
            <p14:sldId id="134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B69"/>
    <a:srgbClr val="FF7575"/>
    <a:srgbClr val="FD783D"/>
    <a:srgbClr val="FF572F"/>
    <a:srgbClr val="FF7453"/>
    <a:srgbClr val="FF5D37"/>
    <a:srgbClr val="F1592F"/>
    <a:srgbClr val="FF3300"/>
    <a:srgbClr val="FFD243"/>
    <a:srgbClr val="FF7A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181" autoAdjust="0"/>
    <p:restoredTop sz="94548" autoAdjust="0"/>
  </p:normalViewPr>
  <p:slideViewPr>
    <p:cSldViewPr snapToGrid="0">
      <p:cViewPr varScale="1">
        <p:scale>
          <a:sx n="109" d="100"/>
          <a:sy n="109" d="100"/>
        </p:scale>
        <p:origin x="888" y="9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16.12.2021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6.12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45150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45485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218921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760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 smtClean="0"/>
              <a:t>16. prosince 2021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941662"/>
              </p:ext>
            </p:extLst>
          </p:nvPr>
        </p:nvGraphicFramePr>
        <p:xfrm>
          <a:off x="350228" y="708347"/>
          <a:ext cx="11519385" cy="5863341"/>
        </p:xfrm>
        <a:graphic>
          <a:graphicData uri="http://schemas.openxmlformats.org/drawingml/2006/table">
            <a:tbl>
              <a:tblPr firstRow="1" firstCol="1" bandRow="1"/>
              <a:tblGrid>
                <a:gridCol w="1413921">
                  <a:extLst>
                    <a:ext uri="{9D8B030D-6E8A-4147-A177-3AD203B41FA5}">
                      <a16:colId xmlns:a16="http://schemas.microsoft.com/office/drawing/2014/main" val="3772522195"/>
                    </a:ext>
                  </a:extLst>
                </a:gridCol>
                <a:gridCol w="2191947">
                  <a:extLst>
                    <a:ext uri="{9D8B030D-6E8A-4147-A177-3AD203B41FA5}">
                      <a16:colId xmlns:a16="http://schemas.microsoft.com/office/drawing/2014/main" val="842899262"/>
                    </a:ext>
                  </a:extLst>
                </a:gridCol>
                <a:gridCol w="2444381">
                  <a:extLst>
                    <a:ext uri="{9D8B030D-6E8A-4147-A177-3AD203B41FA5}">
                      <a16:colId xmlns:a16="http://schemas.microsoft.com/office/drawing/2014/main" val="105783194"/>
                    </a:ext>
                  </a:extLst>
                </a:gridCol>
                <a:gridCol w="2100154">
                  <a:extLst>
                    <a:ext uri="{9D8B030D-6E8A-4147-A177-3AD203B41FA5}">
                      <a16:colId xmlns:a16="http://schemas.microsoft.com/office/drawing/2014/main" val="3894075409"/>
                    </a:ext>
                  </a:extLst>
                </a:gridCol>
                <a:gridCol w="3368982">
                  <a:extLst>
                    <a:ext uri="{9D8B030D-6E8A-4147-A177-3AD203B41FA5}">
                      <a16:colId xmlns:a16="http://schemas.microsoft.com/office/drawing/2014/main" val="2922963808"/>
                    </a:ext>
                  </a:extLst>
                </a:gridCol>
              </a:tblGrid>
              <a:tr h="60313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164548"/>
                  </a:ext>
                </a:extLst>
              </a:tr>
              <a:tr h="7406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arlovarský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ocnice Sokolov – zcela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zastavena el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ktivní operativ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8287979"/>
                  </a:ext>
                </a:extLst>
              </a:tr>
              <a:tr h="74734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če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Je méně pacientů na HFNO, ale </a:t>
                      </a: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ní se JIP + ARO s pacienty na UPV</a:t>
                      </a:r>
                      <a:endParaRPr lang="cs-CZ" sz="13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6967152"/>
                  </a:ext>
                </a:extLst>
              </a:tr>
              <a:tr h="135713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ředočeský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é hodnocení situace – zatím bez potřeby přesunů pacientů mimo spádovou oblast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operativy je nerovnoměrné, někde pouze akutní operativa, jinde ještě omezení do 20%. Souhrnně mezi C/D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623958"/>
                  </a:ext>
                </a:extLst>
              </a:tr>
              <a:tr h="11342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morav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né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y nyní již celoplošně v JMK.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yjovská nemocnice vyhlásila HPO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 Brno omezuje ambulantní péči</a:t>
                      </a:r>
                      <a:r>
                        <a:rPr lang="cs-CZ" sz="1300" b="0" baseline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z důvodu </a:t>
                      </a: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dostatek personálu.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írné zlepšení situace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bez potřeby mezikrajských překladů.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02855"/>
                  </a:ext>
                </a:extLst>
              </a:tr>
              <a:tr h="115052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ysočin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přímo řízených nemocnicích kraje (Jihlava, Pelhřimov,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vlBro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Třebíč, Nové Město n/M).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obdobná, zatím bez překladů v rámci kraje.</a:t>
                      </a:r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89813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93951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800000"/>
              </p:ext>
            </p:extLst>
          </p:nvPr>
        </p:nvGraphicFramePr>
        <p:xfrm>
          <a:off x="372867" y="838718"/>
          <a:ext cx="11435203" cy="5212442"/>
        </p:xfrm>
        <a:graphic>
          <a:graphicData uri="http://schemas.openxmlformats.org/drawingml/2006/table">
            <a:tbl>
              <a:tblPr firstRow="1" firstCol="1" bandRow="1"/>
              <a:tblGrid>
                <a:gridCol w="1403588">
                  <a:extLst>
                    <a:ext uri="{9D8B030D-6E8A-4147-A177-3AD203B41FA5}">
                      <a16:colId xmlns:a16="http://schemas.microsoft.com/office/drawing/2014/main" val="3544378427"/>
                    </a:ext>
                  </a:extLst>
                </a:gridCol>
                <a:gridCol w="2175930">
                  <a:extLst>
                    <a:ext uri="{9D8B030D-6E8A-4147-A177-3AD203B41FA5}">
                      <a16:colId xmlns:a16="http://schemas.microsoft.com/office/drawing/2014/main" val="2335077237"/>
                    </a:ext>
                  </a:extLst>
                </a:gridCol>
                <a:gridCol w="2426518">
                  <a:extLst>
                    <a:ext uri="{9D8B030D-6E8A-4147-A177-3AD203B41FA5}">
                      <a16:colId xmlns:a16="http://schemas.microsoft.com/office/drawing/2014/main" val="1383355635"/>
                    </a:ext>
                  </a:extLst>
                </a:gridCol>
                <a:gridCol w="2084806">
                  <a:extLst>
                    <a:ext uri="{9D8B030D-6E8A-4147-A177-3AD203B41FA5}">
                      <a16:colId xmlns:a16="http://schemas.microsoft.com/office/drawing/2014/main" val="142418389"/>
                    </a:ext>
                  </a:extLst>
                </a:gridCol>
                <a:gridCol w="3344361">
                  <a:extLst>
                    <a:ext uri="{9D8B030D-6E8A-4147-A177-3AD203B41FA5}">
                      <a16:colId xmlns:a16="http://schemas.microsoft.com/office/drawing/2014/main" val="413358982"/>
                    </a:ext>
                  </a:extLst>
                </a:gridCol>
              </a:tblGrid>
              <a:tr h="6242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208484"/>
                  </a:ext>
                </a:extLst>
              </a:tr>
              <a:tr h="12678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Ústecký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čet C19 pacientů na standardních odděleních posledních 10 dnů osciluje nebo mírně klesá, narůstá počet pacientů na C19 JIP, včetně potřeby UPV. 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0712985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lín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pokles denního lineární nárůstu o cca 5-7 pacientů denně na standardních odd.,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atím méně na JIP, ty jsou plné především v menších nemocnicích (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alMez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Vsetín, U.H.)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 personálu je ve všech zařízeních – extrémní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.Hradišt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180 PN, z toho 48 pro COVID)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4531413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ravskoslez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JIPy plné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zastavená.</a:t>
                      </a:r>
                    </a:p>
                    <a:p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ezinemocničním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transporty v rámci kraje.</a:t>
                      </a:r>
                    </a:p>
                    <a:p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akt. “stabilizovaná“ – snížil se počet nově přijímaných COVID pacientů. </a:t>
                      </a:r>
                    </a:p>
                    <a:p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IP problém s velkým počtem post-COVID pacientů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715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4208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771770" y="2788977"/>
            <a:ext cx="292330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lůžka IP C+ pacienty k </a:t>
            </a:r>
          </a:p>
          <a:p>
            <a:pPr algn="ctr"/>
            <a:r>
              <a:rPr lang="cs-CZ" b="1" dirty="0" smtClean="0"/>
              <a:t>16.12.2021 00:31</a:t>
            </a:r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935</a:t>
            </a:r>
          </a:p>
          <a:p>
            <a:pPr algn="ctr"/>
            <a:endParaRPr lang="cs-CZ" sz="2000" b="1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123560"/>
              </p:ext>
            </p:extLst>
          </p:nvPr>
        </p:nvGraphicFramePr>
        <p:xfrm>
          <a:off x="332815" y="963977"/>
          <a:ext cx="9118916" cy="5436843"/>
        </p:xfrm>
        <a:graphic>
          <a:graphicData uri="http://schemas.openxmlformats.org/drawingml/2006/table">
            <a:tbl>
              <a:tblPr/>
              <a:tblGrid>
                <a:gridCol w="1935712">
                  <a:extLst>
                    <a:ext uri="{9D8B030D-6E8A-4147-A177-3AD203B41FA5}">
                      <a16:colId xmlns:a16="http://schemas.microsoft.com/office/drawing/2014/main" val="3816310707"/>
                    </a:ext>
                  </a:extLst>
                </a:gridCol>
                <a:gridCol w="1185131">
                  <a:extLst>
                    <a:ext uri="{9D8B030D-6E8A-4147-A177-3AD203B41FA5}">
                      <a16:colId xmlns:a16="http://schemas.microsoft.com/office/drawing/2014/main" val="1777736256"/>
                    </a:ext>
                  </a:extLst>
                </a:gridCol>
                <a:gridCol w="1096244">
                  <a:extLst>
                    <a:ext uri="{9D8B030D-6E8A-4147-A177-3AD203B41FA5}">
                      <a16:colId xmlns:a16="http://schemas.microsoft.com/office/drawing/2014/main" val="1415892222"/>
                    </a:ext>
                  </a:extLst>
                </a:gridCol>
                <a:gridCol w="1092955">
                  <a:extLst>
                    <a:ext uri="{9D8B030D-6E8A-4147-A177-3AD203B41FA5}">
                      <a16:colId xmlns:a16="http://schemas.microsoft.com/office/drawing/2014/main" val="3220542029"/>
                    </a:ext>
                  </a:extLst>
                </a:gridCol>
                <a:gridCol w="1132456">
                  <a:extLst>
                    <a:ext uri="{9D8B030D-6E8A-4147-A177-3AD203B41FA5}">
                      <a16:colId xmlns:a16="http://schemas.microsoft.com/office/drawing/2014/main" val="3233376855"/>
                    </a:ext>
                  </a:extLst>
                </a:gridCol>
                <a:gridCol w="1135749">
                  <a:extLst>
                    <a:ext uri="{9D8B030D-6E8A-4147-A177-3AD203B41FA5}">
                      <a16:colId xmlns:a16="http://schemas.microsoft.com/office/drawing/2014/main" val="2571767996"/>
                    </a:ext>
                  </a:extLst>
                </a:gridCol>
                <a:gridCol w="1540669">
                  <a:extLst>
                    <a:ext uri="{9D8B030D-6E8A-4147-A177-3AD203B41FA5}">
                      <a16:colId xmlns:a16="http://schemas.microsoft.com/office/drawing/2014/main" val="660122134"/>
                    </a:ext>
                  </a:extLst>
                </a:gridCol>
              </a:tblGrid>
              <a:tr h="197229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oddělení</a:t>
                      </a: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8815629"/>
                  </a:ext>
                </a:extLst>
              </a:tr>
              <a:tr h="197229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16.12. 2021, 11:30 h</a:t>
                      </a: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09852650"/>
                  </a:ext>
                </a:extLst>
              </a:tr>
              <a:tr h="197229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93872096"/>
                  </a:ext>
                </a:extLst>
              </a:tr>
              <a:tr h="19722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415548"/>
                  </a:ext>
                </a:extLst>
              </a:tr>
              <a:tr h="733504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6115020"/>
                  </a:ext>
                </a:extLst>
              </a:tr>
              <a:tr h="1972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5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8217817"/>
                  </a:ext>
                </a:extLst>
              </a:tr>
              <a:tr h="1972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1797342"/>
                  </a:ext>
                </a:extLst>
              </a:tr>
              <a:tr h="1972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552861"/>
                  </a:ext>
                </a:extLst>
              </a:tr>
              <a:tr h="1972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1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582608"/>
                  </a:ext>
                </a:extLst>
              </a:tr>
              <a:tr h="1972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24346519"/>
                  </a:ext>
                </a:extLst>
              </a:tr>
              <a:tr h="1972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5230684"/>
                  </a:ext>
                </a:extLst>
              </a:tr>
              <a:tr h="1972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51342005"/>
                  </a:ext>
                </a:extLst>
              </a:tr>
              <a:tr h="1972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02585626"/>
                  </a:ext>
                </a:extLst>
              </a:tr>
              <a:tr h="1972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0002946"/>
                  </a:ext>
                </a:extLst>
              </a:tr>
              <a:tr h="1972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5580364"/>
                  </a:ext>
                </a:extLst>
              </a:tr>
              <a:tr h="1972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0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86365448"/>
                  </a:ext>
                </a:extLst>
              </a:tr>
              <a:tr h="1972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5046144"/>
                  </a:ext>
                </a:extLst>
              </a:tr>
              <a:tr h="1972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1956038"/>
                  </a:ext>
                </a:extLst>
              </a:tr>
              <a:tr h="1972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9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3682811"/>
                  </a:ext>
                </a:extLst>
              </a:tr>
              <a:tr h="1972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32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3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1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2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1760251"/>
                  </a:ext>
                </a:extLst>
              </a:tr>
              <a:tr h="197229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3151694"/>
                  </a:ext>
                </a:extLst>
              </a:tr>
              <a:tr h="197229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9944607"/>
                  </a:ext>
                </a:extLst>
              </a:tr>
              <a:tr h="197229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5763118"/>
                  </a:ext>
                </a:extLst>
              </a:tr>
              <a:tr h="197229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x</a:t>
                      </a: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9267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8888286" y="3247654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7323726"/>
              </p:ext>
            </p:extLst>
          </p:nvPr>
        </p:nvGraphicFramePr>
        <p:xfrm>
          <a:off x="332819" y="987914"/>
          <a:ext cx="9136497" cy="5350475"/>
        </p:xfrm>
        <a:graphic>
          <a:graphicData uri="http://schemas.openxmlformats.org/drawingml/2006/table">
            <a:tbl>
              <a:tblPr/>
              <a:tblGrid>
                <a:gridCol w="1939444">
                  <a:extLst>
                    <a:ext uri="{9D8B030D-6E8A-4147-A177-3AD203B41FA5}">
                      <a16:colId xmlns:a16="http://schemas.microsoft.com/office/drawing/2014/main" val="1530921587"/>
                    </a:ext>
                  </a:extLst>
                </a:gridCol>
                <a:gridCol w="1187416">
                  <a:extLst>
                    <a:ext uri="{9D8B030D-6E8A-4147-A177-3AD203B41FA5}">
                      <a16:colId xmlns:a16="http://schemas.microsoft.com/office/drawing/2014/main" val="3420205622"/>
                    </a:ext>
                  </a:extLst>
                </a:gridCol>
                <a:gridCol w="1098360">
                  <a:extLst>
                    <a:ext uri="{9D8B030D-6E8A-4147-A177-3AD203B41FA5}">
                      <a16:colId xmlns:a16="http://schemas.microsoft.com/office/drawing/2014/main" val="3815419729"/>
                    </a:ext>
                  </a:extLst>
                </a:gridCol>
                <a:gridCol w="1095060">
                  <a:extLst>
                    <a:ext uri="{9D8B030D-6E8A-4147-A177-3AD203B41FA5}">
                      <a16:colId xmlns:a16="http://schemas.microsoft.com/office/drawing/2014/main" val="2951606357"/>
                    </a:ext>
                  </a:extLst>
                </a:gridCol>
                <a:gridCol w="1134639">
                  <a:extLst>
                    <a:ext uri="{9D8B030D-6E8A-4147-A177-3AD203B41FA5}">
                      <a16:colId xmlns:a16="http://schemas.microsoft.com/office/drawing/2014/main" val="523869494"/>
                    </a:ext>
                  </a:extLst>
                </a:gridCol>
                <a:gridCol w="1137939">
                  <a:extLst>
                    <a:ext uri="{9D8B030D-6E8A-4147-A177-3AD203B41FA5}">
                      <a16:colId xmlns:a16="http://schemas.microsoft.com/office/drawing/2014/main" val="4177909044"/>
                    </a:ext>
                  </a:extLst>
                </a:gridCol>
                <a:gridCol w="1543639">
                  <a:extLst>
                    <a:ext uri="{9D8B030D-6E8A-4147-A177-3AD203B41FA5}">
                      <a16:colId xmlns:a16="http://schemas.microsoft.com/office/drawing/2014/main" val="3365176528"/>
                    </a:ext>
                  </a:extLst>
                </a:gridCol>
              </a:tblGrid>
              <a:tr h="170264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7926642"/>
                  </a:ext>
                </a:extLst>
              </a:tr>
              <a:tr h="179225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16.12. 2021, 11:30 h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41997150"/>
                  </a:ext>
                </a:extLst>
              </a:tr>
              <a:tr h="149781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7071802"/>
                  </a:ext>
                </a:extLst>
              </a:tr>
              <a:tr h="16642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7534113"/>
                  </a:ext>
                </a:extLst>
              </a:tr>
              <a:tr h="64649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24524522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7725426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0229231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8630029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39294441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28177731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2849286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1182696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5334455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5490706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5518391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9699569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3957061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6518903"/>
                  </a:ext>
                </a:extLst>
              </a:tr>
              <a:tr h="1664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8515767"/>
                  </a:ext>
                </a:extLst>
              </a:tr>
              <a:tr h="1728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4687734"/>
                  </a:ext>
                </a:extLst>
              </a:tr>
              <a:tr h="160023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99518255"/>
                  </a:ext>
                </a:extLst>
              </a:tr>
              <a:tr h="149781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00792585"/>
                  </a:ext>
                </a:extLst>
              </a:tr>
              <a:tr h="149781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1223657"/>
                  </a:ext>
                </a:extLst>
              </a:tr>
              <a:tr h="160023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x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1010062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167693" y="2123615"/>
            <a:ext cx="278602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16.12.2021 00:31</a:t>
            </a:r>
          </a:p>
          <a:p>
            <a:pPr algn="ctr"/>
            <a:endParaRPr lang="cs-CZ" b="1" dirty="0"/>
          </a:p>
          <a:p>
            <a:pPr algn="ctr"/>
            <a:r>
              <a:rPr lang="cs-CZ" sz="2000" b="1" dirty="0" smtClean="0"/>
              <a:t>4</a:t>
            </a:r>
            <a:r>
              <a:rPr lang="cs-CZ" sz="2000" b="1" dirty="0"/>
              <a:t> </a:t>
            </a:r>
            <a:r>
              <a:rPr lang="cs-CZ" sz="2000" b="1" dirty="0" smtClean="0"/>
              <a:t>711</a:t>
            </a:r>
            <a:endParaRPr lang="cs-CZ" sz="2000" b="1" dirty="0"/>
          </a:p>
        </p:txBody>
      </p:sp>
      <p:sp>
        <p:nvSpPr>
          <p:cNvPr id="3" name="TextovéPole 2"/>
          <p:cNvSpPr txBox="1"/>
          <p:nvPr/>
        </p:nvSpPr>
        <p:spPr>
          <a:xfrm>
            <a:off x="9326849" y="4071853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2654321"/>
              </p:ext>
            </p:extLst>
          </p:nvPr>
        </p:nvGraphicFramePr>
        <p:xfrm>
          <a:off x="332819" y="1038374"/>
          <a:ext cx="8521037" cy="5309784"/>
        </p:xfrm>
        <a:graphic>
          <a:graphicData uri="http://schemas.openxmlformats.org/drawingml/2006/table">
            <a:tbl>
              <a:tblPr/>
              <a:tblGrid>
                <a:gridCol w="1731894">
                  <a:extLst>
                    <a:ext uri="{9D8B030D-6E8A-4147-A177-3AD203B41FA5}">
                      <a16:colId xmlns:a16="http://schemas.microsoft.com/office/drawing/2014/main" val="1546863877"/>
                    </a:ext>
                  </a:extLst>
                </a:gridCol>
                <a:gridCol w="1060344">
                  <a:extLst>
                    <a:ext uri="{9D8B030D-6E8A-4147-A177-3AD203B41FA5}">
                      <a16:colId xmlns:a16="http://schemas.microsoft.com/office/drawing/2014/main" val="437820448"/>
                    </a:ext>
                  </a:extLst>
                </a:gridCol>
                <a:gridCol w="980817">
                  <a:extLst>
                    <a:ext uri="{9D8B030D-6E8A-4147-A177-3AD203B41FA5}">
                      <a16:colId xmlns:a16="http://schemas.microsoft.com/office/drawing/2014/main" val="1152004062"/>
                    </a:ext>
                  </a:extLst>
                </a:gridCol>
                <a:gridCol w="977871">
                  <a:extLst>
                    <a:ext uri="{9D8B030D-6E8A-4147-A177-3AD203B41FA5}">
                      <a16:colId xmlns:a16="http://schemas.microsoft.com/office/drawing/2014/main" val="157237204"/>
                    </a:ext>
                  </a:extLst>
                </a:gridCol>
                <a:gridCol w="1013217">
                  <a:extLst>
                    <a:ext uri="{9D8B030D-6E8A-4147-A177-3AD203B41FA5}">
                      <a16:colId xmlns:a16="http://schemas.microsoft.com/office/drawing/2014/main" val="377570959"/>
                    </a:ext>
                  </a:extLst>
                </a:gridCol>
                <a:gridCol w="1378447">
                  <a:extLst>
                    <a:ext uri="{9D8B030D-6E8A-4147-A177-3AD203B41FA5}">
                      <a16:colId xmlns:a16="http://schemas.microsoft.com/office/drawing/2014/main" val="705865871"/>
                    </a:ext>
                  </a:extLst>
                </a:gridCol>
                <a:gridCol w="1378447">
                  <a:extLst>
                    <a:ext uri="{9D8B030D-6E8A-4147-A177-3AD203B41FA5}">
                      <a16:colId xmlns:a16="http://schemas.microsoft.com/office/drawing/2014/main" val="1601155029"/>
                    </a:ext>
                  </a:extLst>
                </a:gridCol>
              </a:tblGrid>
              <a:tr h="185107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a infekční oddělení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8013910"/>
                  </a:ext>
                </a:extLst>
              </a:tr>
              <a:tr h="185107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16.12. 2021, 11:30 h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55055571"/>
                  </a:ext>
                </a:extLst>
              </a:tr>
              <a:tr h="15469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2942818"/>
                  </a:ext>
                </a:extLst>
              </a:tr>
              <a:tr h="18510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tní lůžka na Infekčním oddělení s O</a:t>
                      </a:r>
                      <a:r>
                        <a:rPr lang="pl-PL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4399574"/>
                  </a:ext>
                </a:extLst>
              </a:tr>
              <a:tr h="502433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9169132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5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3651401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8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9443839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3482117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0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0611214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0944790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0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2216108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4766716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0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9906163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115995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1379406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0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4589304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3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7421289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3838123"/>
                  </a:ext>
                </a:extLst>
              </a:tr>
              <a:tr h="17188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5057030"/>
                  </a:ext>
                </a:extLst>
              </a:tr>
              <a:tr h="17849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71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5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3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6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7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2704713"/>
                  </a:ext>
                </a:extLst>
              </a:tr>
              <a:tr h="165274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1164057"/>
                  </a:ext>
                </a:extLst>
              </a:tr>
              <a:tr h="154697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37499039"/>
                  </a:ext>
                </a:extLst>
              </a:tr>
              <a:tr h="154697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9717161"/>
                  </a:ext>
                </a:extLst>
              </a:tr>
              <a:tr h="165274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x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918934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Neaktualizovaná ZZ v DIP déle než 48 h</a:t>
            </a:r>
            <a:endParaRPr lang="cs-CZ" dirty="0"/>
          </a:p>
        </p:txBody>
      </p:sp>
      <p:sp>
        <p:nvSpPr>
          <p:cNvPr id="6" name="TextovéPole 5"/>
          <p:cNvSpPr txBox="1"/>
          <p:nvPr/>
        </p:nvSpPr>
        <p:spPr>
          <a:xfrm>
            <a:off x="8617671" y="4968723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15.12.2021 11:30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ovéPole 6"/>
          <p:cNvSpPr txBox="1"/>
          <p:nvPr/>
        </p:nvSpPr>
        <p:spPr>
          <a:xfrm>
            <a:off x="8617671" y="2809292"/>
            <a:ext cx="273319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Žádáme všechna ZZ o aktualizaci volných lůžkových kapacit každý den i během víkendů.</a:t>
            </a:r>
            <a:endParaRPr lang="cs-CZ" dirty="0"/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7938662"/>
              </p:ext>
            </p:extLst>
          </p:nvPr>
        </p:nvGraphicFramePr>
        <p:xfrm>
          <a:off x="1315360" y="2032535"/>
          <a:ext cx="5972946" cy="2146930"/>
        </p:xfrm>
        <a:graphic>
          <a:graphicData uri="http://schemas.openxmlformats.org/drawingml/2006/table">
            <a:tbl>
              <a:tblPr/>
              <a:tblGrid>
                <a:gridCol w="3727065">
                  <a:extLst>
                    <a:ext uri="{9D8B030D-6E8A-4147-A177-3AD203B41FA5}">
                      <a16:colId xmlns:a16="http://schemas.microsoft.com/office/drawing/2014/main" val="107433437"/>
                    </a:ext>
                  </a:extLst>
                </a:gridCol>
                <a:gridCol w="620131">
                  <a:extLst>
                    <a:ext uri="{9D8B030D-6E8A-4147-A177-3AD203B41FA5}">
                      <a16:colId xmlns:a16="http://schemas.microsoft.com/office/drawing/2014/main" val="4164856319"/>
                    </a:ext>
                  </a:extLst>
                </a:gridCol>
                <a:gridCol w="1625750">
                  <a:extLst>
                    <a:ext uri="{9D8B030D-6E8A-4147-A177-3AD203B41FA5}">
                      <a16:colId xmlns:a16="http://schemas.microsoft.com/office/drawing/2014/main" val="3820816568"/>
                    </a:ext>
                  </a:extLst>
                </a:gridCol>
              </a:tblGrid>
              <a:tr h="31813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ktualizace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8834143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Říčany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9.12.2021 14:50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5469866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Šumperk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.12.2021 6:50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789447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lastní </a:t>
                      </a:r>
                      <a:r>
                        <a:rPr lang="cs-CZ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 Kolín, a.s., Nemocnice Kutná Hora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.12.2021 13:19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5483184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Nové Město na Moravě, </a:t>
                      </a:r>
                      <a:r>
                        <a:rPr lang="cs-CZ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.o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YS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.12.2021 11:22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7939742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oměřížská nemocnice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.12.2021 11:32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8322689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719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19809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– Stav očkování u hospitalizovaných pacientů</a:t>
            </a:r>
            <a:endParaRPr lang="cs-CZ" sz="2800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4439211"/>
              </p:ext>
            </p:extLst>
          </p:nvPr>
        </p:nvGraphicFramePr>
        <p:xfrm>
          <a:off x="905440" y="1861611"/>
          <a:ext cx="8652072" cy="32678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3018">
                  <a:extLst>
                    <a:ext uri="{9D8B030D-6E8A-4147-A177-3AD203B41FA5}">
                      <a16:colId xmlns:a16="http://schemas.microsoft.com/office/drawing/2014/main" val="2672105997"/>
                    </a:ext>
                  </a:extLst>
                </a:gridCol>
                <a:gridCol w="149527">
                  <a:extLst>
                    <a:ext uri="{9D8B030D-6E8A-4147-A177-3AD203B41FA5}">
                      <a16:colId xmlns:a16="http://schemas.microsoft.com/office/drawing/2014/main" val="2565829457"/>
                    </a:ext>
                  </a:extLst>
                </a:gridCol>
                <a:gridCol w="2013491">
                  <a:extLst>
                    <a:ext uri="{9D8B030D-6E8A-4147-A177-3AD203B41FA5}">
                      <a16:colId xmlns:a16="http://schemas.microsoft.com/office/drawing/2014/main" val="4257011553"/>
                    </a:ext>
                  </a:extLst>
                </a:gridCol>
                <a:gridCol w="2329909">
                  <a:extLst>
                    <a:ext uri="{9D8B030D-6E8A-4147-A177-3AD203B41FA5}">
                      <a16:colId xmlns:a16="http://schemas.microsoft.com/office/drawing/2014/main" val="3540943450"/>
                    </a:ext>
                  </a:extLst>
                </a:gridCol>
                <a:gridCol w="729761">
                  <a:extLst>
                    <a:ext uri="{9D8B030D-6E8A-4147-A177-3AD203B41FA5}">
                      <a16:colId xmlns:a16="http://schemas.microsoft.com/office/drawing/2014/main" val="1484824574"/>
                    </a:ext>
                  </a:extLst>
                </a:gridCol>
                <a:gridCol w="1266366">
                  <a:extLst>
                    <a:ext uri="{9D8B030D-6E8A-4147-A177-3AD203B41FA5}">
                      <a16:colId xmlns:a16="http://schemas.microsoft.com/office/drawing/2014/main" val="15660643"/>
                    </a:ext>
                  </a:extLst>
                </a:gridCol>
              </a:tblGrid>
              <a:tr h="451806">
                <a:tc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300" b="0" i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Stav</a:t>
                      </a:r>
                      <a:r>
                        <a:rPr lang="cs-CZ" sz="1300" b="0" i="0" baseline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 k 16.12.2021 0:31 h</a:t>
                      </a:r>
                      <a:endParaRPr lang="cs-CZ" sz="1300" b="0" i="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cs-CZ" sz="1200" b="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300" b="0" i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Zdroj: ÚZIS</a:t>
                      </a:r>
                      <a:endParaRPr lang="cs-CZ" sz="1300" b="0" i="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9070743"/>
                  </a:ext>
                </a:extLst>
              </a:tr>
              <a:tr h="557021">
                <a:tc gridSpan="6"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Celkem hospitalizovaných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PAC C+                   </a:t>
                      </a:r>
                      <a:r>
                        <a:rPr lang="cs-CZ" sz="2400" b="1" baseline="0" dirty="0" smtClean="0">
                          <a:latin typeface="+mj-lt"/>
                          <a:cs typeface="Calibri" panose="020F0502020204030204" pitchFamily="34" charset="0"/>
                        </a:rPr>
                        <a:t>5 646</a:t>
                      </a:r>
                      <a:endParaRPr lang="cs-CZ" sz="2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7492961"/>
                  </a:ext>
                </a:extLst>
              </a:tr>
              <a:tr h="451806">
                <a:tc gridSpan="3">
                  <a:txBody>
                    <a:bodyPr/>
                    <a:lstStyle/>
                    <a:p>
                      <a:pPr algn="ctr"/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</a:t>
                      </a:r>
                      <a:endParaRPr lang="cs-CZ" sz="14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963122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Neočkovaní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973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52,7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AC na JIP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935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71675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Nedokončené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očko.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81  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3,2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+mj-lt"/>
                          <a:cs typeface="Calibri" panose="020F0502020204030204" pitchFamily="34" charset="0"/>
                        </a:rPr>
                        <a:t>neočko</a:t>
                      </a: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.</a:t>
                      </a:r>
                      <a:endParaRPr lang="cs-CZ" sz="14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644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 (68,9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2755086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Dokončené očko.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2 146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38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AC na standart O2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4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711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084318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osilovací dávka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346  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6,1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+mj-lt"/>
                          <a:cs typeface="Calibri" panose="020F0502020204030204" pitchFamily="34" charset="0"/>
                        </a:rPr>
                        <a:t>neočko</a:t>
                      </a: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380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50,5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76608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86537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</a:t>
            </a:r>
            <a:r>
              <a:rPr lang="cs-CZ" dirty="0"/>
              <a:t>-</a:t>
            </a:r>
            <a:r>
              <a:rPr lang="cs-CZ" dirty="0" smtClean="0"/>
              <a:t> Souhrn - aktualizace</a:t>
            </a:r>
            <a:endParaRPr lang="cs-CZ" sz="2800" dirty="0"/>
          </a:p>
        </p:txBody>
      </p:sp>
      <p:graphicFrame>
        <p:nvGraphicFramePr>
          <p:cNvPr id="8" name="Tabulk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2646365"/>
              </p:ext>
            </p:extLst>
          </p:nvPr>
        </p:nvGraphicFramePr>
        <p:xfrm>
          <a:off x="803513" y="1619682"/>
          <a:ext cx="4777098" cy="1341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199">
                  <a:extLst>
                    <a:ext uri="{9D8B030D-6E8A-4147-A177-3AD203B41FA5}">
                      <a16:colId xmlns:a16="http://schemas.microsoft.com/office/drawing/2014/main" val="2209585095"/>
                    </a:ext>
                  </a:extLst>
                </a:gridCol>
                <a:gridCol w="2033899">
                  <a:extLst>
                    <a:ext uri="{9D8B030D-6E8A-4147-A177-3AD203B41FA5}">
                      <a16:colId xmlns:a16="http://schemas.microsoft.com/office/drawing/2014/main" val="3513835546"/>
                    </a:ext>
                  </a:extLst>
                </a:gridCol>
              </a:tblGrid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apacity lůžkové péče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k 16.12.2021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62031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32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48900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n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9,1 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842585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sazenost C+ pac. n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7 %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753387"/>
                  </a:ext>
                </a:extLst>
              </a:tr>
            </a:tbl>
          </a:graphicData>
        </a:graphic>
      </p:graphicFrame>
      <p:sp>
        <p:nvSpPr>
          <p:cNvPr id="4" name="TextovéPole 3"/>
          <p:cNvSpPr txBox="1"/>
          <p:nvPr/>
        </p:nvSpPr>
        <p:spPr>
          <a:xfrm>
            <a:off x="678521" y="3577107"/>
            <a:ext cx="105686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lší informace - aktualizace: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cs-CZ" dirty="0" smtClean="0">
              <a:solidFill>
                <a:prstClr val="black"/>
              </a:solidFill>
              <a:latin typeface="Segoe UI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lang="cs-CZ" dirty="0" smtClean="0">
                <a:solidFill>
                  <a:prstClr val="black"/>
                </a:solidFill>
                <a:latin typeface="Segoe UI"/>
              </a:rPr>
              <a:t>Za 15.12. bylo 313 nově přijatých pac. a 432 propuštěných.</a:t>
            </a:r>
            <a:endParaRPr lang="cs-CZ" dirty="0">
              <a:solidFill>
                <a:prstClr val="black"/>
              </a:solidFill>
              <a:latin typeface="Segoe UI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endParaRPr lang="cs-CZ" dirty="0" smtClean="0">
              <a:solidFill>
                <a:prstClr val="black"/>
              </a:solidFill>
              <a:latin typeface="Segoe UI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lang="cs-CZ" dirty="0" smtClean="0">
                <a:solidFill>
                  <a:prstClr val="black"/>
                </a:solidFill>
                <a:latin typeface="Segoe UI"/>
              </a:rPr>
              <a:t>KKIP – bez požadavků na mezikrajové překlady. Situace v krajích neměnná (omezený personál, zastavená </a:t>
            </a:r>
            <a:r>
              <a:rPr lang="cs-CZ" dirty="0" err="1" smtClean="0">
                <a:solidFill>
                  <a:prstClr val="black"/>
                </a:solidFill>
                <a:latin typeface="Segoe UI"/>
              </a:rPr>
              <a:t>elektiva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), ale dochází k mírnému zlepšení.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cs-CZ" dirty="0" smtClean="0">
              <a:solidFill>
                <a:prstClr val="black"/>
              </a:solidFill>
              <a:latin typeface="Segoe UI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 startAt="3"/>
              <a:tabLst/>
              <a:defRPr/>
            </a:pPr>
            <a:r>
              <a:rPr lang="cs-CZ" dirty="0" smtClean="0">
                <a:solidFill>
                  <a:prstClr val="black"/>
                </a:solidFill>
                <a:latin typeface="Segoe UI"/>
              </a:rPr>
              <a:t>LBK – omezení elektivní péče o 50%, VYS - elektivní péče téměř zastavena.</a:t>
            </a:r>
          </a:p>
        </p:txBody>
      </p:sp>
      <p:sp>
        <p:nvSpPr>
          <p:cNvPr id="3" name="TextovéPole 2"/>
          <p:cNvSpPr txBox="1"/>
          <p:nvPr/>
        </p:nvSpPr>
        <p:spPr>
          <a:xfrm>
            <a:off x="5836088" y="1751633"/>
            <a:ext cx="525489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cs-CZ" b="1" u="sng" dirty="0" smtClean="0">
                <a:latin typeface="Segoe UI" panose="020B0502040204020203" pitchFamily="34" charset="0"/>
                <a:cs typeface="Segoe UI" panose="020B0502040204020203" pitchFamily="34" charset="0"/>
              </a:rPr>
              <a:t>Hodnocení:</a:t>
            </a:r>
          </a:p>
          <a:p>
            <a:pPr lvl="0"/>
            <a:r>
              <a:rPr lang="cs-CZ" dirty="0" smtClean="0">
                <a:latin typeface="Segoe UI" panose="020B0502040204020203" pitchFamily="34" charset="0"/>
                <a:cs typeface="Segoe UI" panose="020B0502040204020203" pitchFamily="34" charset="0"/>
              </a:rPr>
              <a:t>Volné kapacity JIP v posledním týdnu začaly mírně stoupat a m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írně </a:t>
            </a:r>
            <a:r>
              <a:rPr lang="cs-CZ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lesá podíl C+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c</a:t>
            </a:r>
            <a:r>
              <a:rPr lang="cs-CZ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292815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8753288"/>
              </p:ext>
            </p:extLst>
          </p:nvPr>
        </p:nvGraphicFramePr>
        <p:xfrm>
          <a:off x="332646" y="832094"/>
          <a:ext cx="11405086" cy="4846794"/>
        </p:xfrm>
        <a:graphic>
          <a:graphicData uri="http://schemas.openxmlformats.org/drawingml/2006/table">
            <a:tbl>
              <a:tblPr firstRow="1" firstCol="1" bandRow="1"/>
              <a:tblGrid>
                <a:gridCol w="1399893">
                  <a:extLst>
                    <a:ext uri="{9D8B030D-6E8A-4147-A177-3AD203B41FA5}">
                      <a16:colId xmlns:a16="http://schemas.microsoft.com/office/drawing/2014/main" val="139736479"/>
                    </a:ext>
                  </a:extLst>
                </a:gridCol>
                <a:gridCol w="2170199">
                  <a:extLst>
                    <a:ext uri="{9D8B030D-6E8A-4147-A177-3AD203B41FA5}">
                      <a16:colId xmlns:a16="http://schemas.microsoft.com/office/drawing/2014/main" val="1590847519"/>
                    </a:ext>
                  </a:extLst>
                </a:gridCol>
                <a:gridCol w="2420126">
                  <a:extLst>
                    <a:ext uri="{9D8B030D-6E8A-4147-A177-3AD203B41FA5}">
                      <a16:colId xmlns:a16="http://schemas.microsoft.com/office/drawing/2014/main" val="2576979814"/>
                    </a:ext>
                  </a:extLst>
                </a:gridCol>
                <a:gridCol w="1959490">
                  <a:extLst>
                    <a:ext uri="{9D8B030D-6E8A-4147-A177-3AD203B41FA5}">
                      <a16:colId xmlns:a16="http://schemas.microsoft.com/office/drawing/2014/main" val="2056688962"/>
                    </a:ext>
                  </a:extLst>
                </a:gridCol>
                <a:gridCol w="3455378">
                  <a:extLst>
                    <a:ext uri="{9D8B030D-6E8A-4147-A177-3AD203B41FA5}">
                      <a16:colId xmlns:a16="http://schemas.microsoft.com/office/drawing/2014/main" val="573671383"/>
                    </a:ext>
                  </a:extLst>
                </a:gridCol>
              </a:tblGrid>
              <a:tr h="74033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206147"/>
                  </a:ext>
                </a:extLst>
              </a:tr>
              <a:tr h="131276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l. m. Prah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5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trvale kapacitní problémy FTN a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KV, ostatní navyšují kapacity dle potřeby, snaha o maximální zachování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  <a:p>
                      <a:pPr marL="0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cs-CZ" sz="1300" b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TN a </a:t>
                      </a:r>
                      <a:r>
                        <a:rPr lang="cs-CZ" sz="1300" b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mocnice na Bulovce hlásí kapacitní problémy na IP.</a:t>
                      </a:r>
                      <a:endParaRPr lang="cs-CZ" sz="1300" b="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1312754"/>
                  </a:ext>
                </a:extLst>
              </a:tr>
              <a:tr h="147797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rdubi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ní provoz prakticky plně zastaven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Onkologická aj. neodkladná operativa běží bez omezení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na úrovni „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ateau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“, maximalizovány kapacity standardní i intenzivní péče, menší rezerva lůžek zůstává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alší navýšení kapacit by ale již bylo velmi problematické. Krizovou situaci nelze nadále vyloučit.</a:t>
                      </a:r>
                      <a:endParaRPr lang="cs-CZ" sz="130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805074"/>
                  </a:ext>
                </a:extLst>
              </a:tr>
              <a:tr h="8770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álovéhrad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8501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80660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9562845"/>
              </p:ext>
            </p:extLst>
          </p:nvPr>
        </p:nvGraphicFramePr>
        <p:xfrm>
          <a:off x="279292" y="841021"/>
          <a:ext cx="11587543" cy="5025388"/>
        </p:xfrm>
        <a:graphic>
          <a:graphicData uri="http://schemas.openxmlformats.org/drawingml/2006/table">
            <a:tbl>
              <a:tblPr firstRow="1" firstCol="1" bandRow="1"/>
              <a:tblGrid>
                <a:gridCol w="1422287">
                  <a:extLst>
                    <a:ext uri="{9D8B030D-6E8A-4147-A177-3AD203B41FA5}">
                      <a16:colId xmlns:a16="http://schemas.microsoft.com/office/drawing/2014/main" val="2516720382"/>
                    </a:ext>
                  </a:extLst>
                </a:gridCol>
                <a:gridCol w="2204916">
                  <a:extLst>
                    <a:ext uri="{9D8B030D-6E8A-4147-A177-3AD203B41FA5}">
                      <a16:colId xmlns:a16="http://schemas.microsoft.com/office/drawing/2014/main" val="2538168158"/>
                    </a:ext>
                  </a:extLst>
                </a:gridCol>
                <a:gridCol w="2458844">
                  <a:extLst>
                    <a:ext uri="{9D8B030D-6E8A-4147-A177-3AD203B41FA5}">
                      <a16:colId xmlns:a16="http://schemas.microsoft.com/office/drawing/2014/main" val="1374489751"/>
                    </a:ext>
                  </a:extLst>
                </a:gridCol>
                <a:gridCol w="2112580">
                  <a:extLst>
                    <a:ext uri="{9D8B030D-6E8A-4147-A177-3AD203B41FA5}">
                      <a16:colId xmlns:a16="http://schemas.microsoft.com/office/drawing/2014/main" val="2988357666"/>
                    </a:ext>
                  </a:extLst>
                </a:gridCol>
                <a:gridCol w="3388916">
                  <a:extLst>
                    <a:ext uri="{9D8B030D-6E8A-4147-A177-3AD203B41FA5}">
                      <a16:colId xmlns:a16="http://schemas.microsoft.com/office/drawing/2014/main" val="3364315349"/>
                    </a:ext>
                  </a:extLst>
                </a:gridCol>
              </a:tblGrid>
              <a:tr h="5910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793804"/>
                  </a:ext>
                </a:extLst>
              </a:tr>
              <a:tr h="11889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ber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chází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k o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ezení kapacity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acienty v IP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i ve </a:t>
                      </a:r>
                      <a:r>
                        <a:rPr lang="cs-CZ" sz="1300" b="0" i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nd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éči vzhledem k </a:t>
                      </a:r>
                      <a:r>
                        <a:rPr lang="cs-CZ" sz="1300" b="0" i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profilizaci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lůžkové kapacity. Omezená možnost překladů již neinfekčních </a:t>
                      </a:r>
                      <a:r>
                        <a:rPr lang="cs-CZ" sz="1300" b="0" i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pacientů.</a:t>
                      </a: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9838243"/>
                  </a:ext>
                </a:extLst>
              </a:tr>
              <a:tr h="13821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lomouc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omezená cca 40-50%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P - vysoká, ale t.č. konstant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bložnost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částečně podíl vysoké mortality v IP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ajištěn akutní provoz (neodkladné stavy,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nkoopera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vá problém s nedostatkem kvalifikovaného personálu zejména v IP. 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2932507"/>
                  </a:ext>
                </a:extLst>
              </a:tr>
              <a:tr h="139997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zeňs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ktuálně pokles počtu hospitalizovaných ve standardní péči. V rámci Intenzivní péče dochází ke kumulaci pacientů s potřebou ventilační podpory i </a:t>
                      </a:r>
                      <a:r>
                        <a:rPr lang="cs-CZ" sz="1300" b="0" i="0" kern="120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</a:t>
                      </a: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vypadávají z oficiálních statistik, ale stále blokují lůžka vyšší IP!!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řetrvává omezení operativy na akutní a nutnou onkologickou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5078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98965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23298</TotalTime>
  <Words>1989</Words>
  <Application>Microsoft Office PowerPoint</Application>
  <PresentationFormat>Širokoúhlá obrazovka</PresentationFormat>
  <Paragraphs>560</Paragraphs>
  <Slides>11</Slides>
  <Notes>4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11</vt:i4>
      </vt:variant>
    </vt:vector>
  </HeadingPairs>
  <TitlesOfParts>
    <vt:vector size="18" baseType="lpstr">
      <vt:lpstr>Arial</vt:lpstr>
      <vt:lpstr>Arial Black</vt:lpstr>
      <vt:lpstr>Calibri</vt:lpstr>
      <vt:lpstr>Segoe UI</vt:lpstr>
      <vt:lpstr>Times New Roman</vt:lpstr>
      <vt:lpstr>Motiv Office</vt:lpstr>
      <vt:lpstr>1_Motiv Offic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Neaktualizovaná ZZ v DIP déle než 48 h</vt:lpstr>
      <vt:lpstr>NDLP – Stav očkování u hospitalizovaných pacientů</vt:lpstr>
      <vt:lpstr>NDLP - Souhrn - aktualizace</vt:lpstr>
      <vt:lpstr>Hodnocení situace v krajích od KKIP</vt:lpstr>
      <vt:lpstr>Hodnocení situace v krajích od KKIP</vt:lpstr>
      <vt:lpstr>Hodnocení situace v krajích od KKIP</vt:lpstr>
      <vt:lpstr>Hodnocení situace v krajích od KKI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Ondřej Růžička</cp:lastModifiedBy>
  <cp:revision>1741</cp:revision>
  <cp:lastPrinted>2020-10-20T04:21:56Z</cp:lastPrinted>
  <dcterms:created xsi:type="dcterms:W3CDTF">2020-07-15T10:33:32Z</dcterms:created>
  <dcterms:modified xsi:type="dcterms:W3CDTF">2021-12-16T14:55:56Z</dcterms:modified>
</cp:coreProperties>
</file>